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88" r:id="rId3"/>
    <p:sldMasterId id="2147483704" r:id="rId4"/>
  </p:sldMasterIdLst>
  <p:notesMasterIdLst>
    <p:notesMasterId r:id="rId7"/>
  </p:notesMasterIdLst>
  <p:handoutMasterIdLst>
    <p:handoutMasterId r:id="rId8"/>
  </p:handoutMasterIdLst>
  <p:sldIdLst>
    <p:sldId id="1087" r:id="rId5"/>
    <p:sldId id="1546" r:id="rId6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rlesung VL01" id="{51B8FC99-635C-4064-AD59-16DD8C050024}">
          <p14:sldIdLst>
            <p14:sldId id="1087"/>
            <p14:sldId id="154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704" userDrawn="1">
          <p15:clr>
            <a:srgbClr val="A4A3A4"/>
          </p15:clr>
        </p15:guide>
        <p15:guide id="2" pos="37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BCBDBB"/>
    <a:srgbClr val="BA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549C9A-A6B2-4350-BE28-89D5425227D0}" v="2" dt="2024-01-12T15:59:27.0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54" autoAdjust="0"/>
    <p:restoredTop sz="86832" autoAdjust="0"/>
  </p:normalViewPr>
  <p:slideViewPr>
    <p:cSldViewPr>
      <p:cViewPr varScale="1">
        <p:scale>
          <a:sx n="76" d="100"/>
          <a:sy n="76" d="100"/>
        </p:scale>
        <p:origin x="402" y="60"/>
      </p:cViewPr>
      <p:guideLst>
        <p:guide orient="horz" pos="2704"/>
        <p:guide pos="3719"/>
      </p:guideLst>
    </p:cSldViewPr>
  </p:slideViewPr>
  <p:outlineViewPr>
    <p:cViewPr>
      <p:scale>
        <a:sx n="33" d="100"/>
        <a:sy n="33" d="100"/>
      </p:scale>
      <p:origin x="8" y="2604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100" d="100"/>
          <a:sy n="100" d="100"/>
        </p:scale>
        <p:origin x="-4016" y="-93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s Schmitt" userId="5207b21e-2ba2-46ed-97b4-17ee4e0d2c68" providerId="ADAL" clId="{E7549C9A-A6B2-4350-BE28-89D5425227D0}"/>
    <pc:docChg chg="custSel delSld modSld modSection">
      <pc:chgData name="Andreas Schmitt" userId="5207b21e-2ba2-46ed-97b4-17ee4e0d2c68" providerId="ADAL" clId="{E7549C9A-A6B2-4350-BE28-89D5425227D0}" dt="2024-01-12T15:59:46.612" v="12" actId="20577"/>
      <pc:docMkLst>
        <pc:docMk/>
      </pc:docMkLst>
      <pc:sldChg chg="modSp mod">
        <pc:chgData name="Andreas Schmitt" userId="5207b21e-2ba2-46ed-97b4-17ee4e0d2c68" providerId="ADAL" clId="{E7549C9A-A6B2-4350-BE28-89D5425227D0}" dt="2024-01-12T15:59:46.612" v="12" actId="20577"/>
        <pc:sldMkLst>
          <pc:docMk/>
          <pc:sldMk cId="1923399112" sldId="1087"/>
        </pc:sldMkLst>
        <pc:spChg chg="mod">
          <ac:chgData name="Andreas Schmitt" userId="5207b21e-2ba2-46ed-97b4-17ee4e0d2c68" providerId="ADAL" clId="{E7549C9A-A6B2-4350-BE28-89D5425227D0}" dt="2024-01-12T15:59:44.179" v="7" actId="20577"/>
          <ac:spMkLst>
            <pc:docMk/>
            <pc:sldMk cId="1923399112" sldId="1087"/>
            <ac:spMk id="7" creationId="{62BFC551-9DB8-4BAB-B6B4-62F5F6909EC2}"/>
          </ac:spMkLst>
        </pc:spChg>
        <pc:spChg chg="mod">
          <ac:chgData name="Andreas Schmitt" userId="5207b21e-2ba2-46ed-97b4-17ee4e0d2c68" providerId="ADAL" clId="{E7549C9A-A6B2-4350-BE28-89D5425227D0}" dt="2024-01-12T15:59:46.612" v="12" actId="20577"/>
          <ac:spMkLst>
            <pc:docMk/>
            <pc:sldMk cId="1923399112" sldId="1087"/>
            <ac:spMk id="8" creationId="{7AA139CD-735D-4AB8-9FCE-080BDC820787}"/>
          </ac:spMkLst>
        </pc:spChg>
      </pc:sldChg>
      <pc:sldChg chg="addSp delSp modSp mod chgLayout">
        <pc:chgData name="Andreas Schmitt" userId="5207b21e-2ba2-46ed-97b4-17ee4e0d2c68" providerId="ADAL" clId="{E7549C9A-A6B2-4350-BE28-89D5425227D0}" dt="2024-01-12T15:59:33.726" v="6" actId="20577"/>
        <pc:sldMkLst>
          <pc:docMk/>
          <pc:sldMk cId="4124322762" sldId="1546"/>
        </pc:sldMkLst>
        <pc:spChg chg="add del mo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3" creationId="{0A41F8AE-8445-4F21-0F4D-077A774DB028}"/>
          </ac:spMkLst>
        </pc:spChg>
        <pc:spChg chg="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4" creationId="{6006BF76-DBFF-4B68-8CB7-9F1550761310}"/>
          </ac:spMkLst>
        </pc:spChg>
        <pc:spChg chg="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5" creationId="{1EA9214A-E96D-470A-8EDE-61CEBA45EA6E}"/>
          </ac:spMkLst>
        </pc:spChg>
        <pc:spChg chg="add 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7" creationId="{26523E40-D335-FE8D-B399-2688CE983F83}"/>
          </ac:spMkLst>
        </pc:spChg>
        <pc:spChg chg="mod ord">
          <ac:chgData name="Andreas Schmitt" userId="5207b21e-2ba2-46ed-97b4-17ee4e0d2c68" providerId="ADAL" clId="{E7549C9A-A6B2-4350-BE28-89D5425227D0}" dt="2024-01-12T15:59:33.726" v="6" actId="20577"/>
          <ac:spMkLst>
            <pc:docMk/>
            <pc:sldMk cId="4124322762" sldId="1546"/>
            <ac:spMk id="8" creationId="{C5348221-1137-4E3C-A316-B70160A89D22}"/>
          </ac:spMkLst>
        </pc:spChg>
        <pc:spChg chg="del">
          <ac:chgData name="Andreas Schmitt" userId="5207b21e-2ba2-46ed-97b4-17ee4e0d2c68" providerId="ADAL" clId="{E7549C9A-A6B2-4350-BE28-89D5425227D0}" dt="2024-01-12T15:59:11.444" v="1" actId="478"/>
          <ac:spMkLst>
            <pc:docMk/>
            <pc:sldMk cId="4124322762" sldId="1546"/>
            <ac:spMk id="9" creationId="{86E825F2-94E1-4BEB-9BC5-097415CC2841}"/>
          </ac:spMkLst>
        </pc:spChg>
        <pc:picChg chg="del">
          <ac:chgData name="Andreas Schmitt" userId="5207b21e-2ba2-46ed-97b4-17ee4e0d2c68" providerId="ADAL" clId="{E7549C9A-A6B2-4350-BE28-89D5425227D0}" dt="2024-01-12T15:59:27.052" v="4" actId="478"/>
          <ac:picMkLst>
            <pc:docMk/>
            <pc:sldMk cId="4124322762" sldId="1546"/>
            <ac:picMk id="6" creationId="{4BCE7187-B031-4A3D-A4AF-123A45C2961B}"/>
          </ac:picMkLst>
        </pc:picChg>
        <pc:picChg chg="del">
          <ac:chgData name="Andreas Schmitt" userId="5207b21e-2ba2-46ed-97b4-17ee4e0d2c68" providerId="ADAL" clId="{E7549C9A-A6B2-4350-BE28-89D5425227D0}" dt="2024-01-12T15:59:16.191" v="3" actId="478"/>
          <ac:picMkLst>
            <pc:docMk/>
            <pc:sldMk cId="4124322762" sldId="1546"/>
            <ac:picMk id="159746" creationId="{BF3EE483-55B4-4A4C-B4CA-B1CAB1AED712}"/>
          </ac:picMkLst>
        </pc:picChg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025201091" sldId="154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621429362" sldId="154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098049718" sldId="154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338000219" sldId="155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43712411" sldId="155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660463436" sldId="155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84429505" sldId="155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416138586" sldId="155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896236324" sldId="155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306710642" sldId="155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458310555" sldId="155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285767656" sldId="155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979046137" sldId="155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466958862" sldId="156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818496155" sldId="156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21153693" sldId="156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82409152" sldId="156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421332026" sldId="156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546059997" sldId="156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69086398" sldId="156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108707021" sldId="156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295386140" sldId="156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139347351" sldId="156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977235744" sldId="157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816368900" sldId="157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28417578" sldId="157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06543526" sldId="157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512343751" sldId="157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750884767" sldId="157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733463454" sldId="157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033279443" sldId="158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576485239" sldId="158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742811623" sldId="158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4BAF5B-C937-F24D-AEEE-A25B9820327F}" type="datetimeFigureOut">
              <a:rPr lang="de-DE" smtClean="0"/>
              <a:t>12.01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C617D1-29C8-0E45-8484-7D1179CDBFB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1555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16EEFE-D067-4349-B2E2-591BB1E476CB}" type="datetimeFigureOut">
              <a:rPr lang="de-DE" smtClean="0"/>
              <a:pPr/>
              <a:t>12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48D173-51C1-41A8-B41F-93B487EE5C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1679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B29597-2BA2-49DD-9D50-C072983A6E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7B6C39-95E1-42F8-934A-005D36AF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6565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D1CB0-5E01-4BF5-8979-25711A2B0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D1ED6D-6804-49C7-8684-2A40128E33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173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3D161-904F-4C5A-B0DF-CF567683AD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221F26-ABA3-40FF-8FB0-C09C45DF1E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6456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2ECC16-B02A-49ED-A997-97F3696CD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8108A9-9A58-4B68-B03D-E4E3378553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995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E01A09-F514-40C2-92DA-197167A9C5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3C8A73-3F40-47C4-ACE4-5CC8DA9E0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5184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D1DECE-4D64-4F20-AED1-115409D2DB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31B2BB-53E5-48C8-885B-92A57BA671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29775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4CD4FC-A85E-4387-A85C-692D3A3749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F39532-5A50-4BC3-A967-F7DA996134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51349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837273C-A882-4134-B841-C4EBE62DB41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763479-22DA-422D-8744-332560338A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0715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C6C608-A3BD-41E2-8503-5E1CC580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C92514-7FD6-4B50-8F6D-E260B9EAF3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67037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BF0F57-3810-4ABC-81E9-F284DE33FD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A31E9D-908D-4C86-9B85-ADF3BDBDBA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6398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1" y="274639"/>
            <a:ext cx="10972800" cy="58515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B27049-5180-4E56-9D04-7B47507277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8660F2-25EB-4B71-9D89-BA83311BDB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9248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99D7F4-EBBA-4733-A275-7927AB1754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FDDB72-DB28-4F1E-9975-1C2A5488D1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46351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46FD76-897E-478D-BBDE-CFA49EE8EA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EB273C-5955-46C8-BB8A-8D9AE9C1B8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19033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4400" y="3816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4400" y="1724401"/>
            <a:ext cx="10972800" cy="4141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5972401"/>
            <a:ext cx="9696449" cy="155575"/>
          </a:xfrm>
        </p:spPr>
        <p:txBody>
          <a:bodyPr/>
          <a:lstStyle>
            <a:lvl1pPr marL="3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  <a:lvl2pPr marL="2700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2pPr>
            <a:lvl3pPr marL="9144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3pPr>
            <a:lvl4pPr marL="1371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4pPr>
            <a:lvl5pPr marL="18288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14676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2" y="980730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1" y="1879303"/>
            <a:ext cx="10157679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35731" indent="-135731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76597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BE78D7F-0710-4B9D-A93B-BB9F2585A9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BCE889C-FDD2-41DE-BF80-7139D4537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1694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D1CB0-5E01-4BF5-8979-25711A2B0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D1ED6D-6804-49C7-8684-2A40128E33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355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3D161-904F-4C5A-B0DF-CF567683AD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221F26-ABA3-40FF-8FB0-C09C45DF1E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735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2ECC16-B02A-49ED-A997-97F3696CD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8108A9-9A58-4B68-B03D-E4E3378553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9296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E01A09-F514-40C2-92DA-197167A9C5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3C8A73-3F40-47C4-ACE4-5CC8DA9E0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2919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DB2BCD-2402-4A6F-9966-FFB1021916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D9B34F-584D-4E59-A29D-817CD07F42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408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E0406B-E9DB-41B9-91DD-6E876B1BA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F91F61-F512-4A71-A00F-084B75A29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0850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5" indent="0" algn="ctr">
              <a:buNone/>
              <a:defRPr/>
            </a:lvl2pPr>
            <a:lvl3pPr marL="914308" indent="0" algn="ctr">
              <a:buNone/>
              <a:defRPr/>
            </a:lvl3pPr>
            <a:lvl4pPr marL="1371463" indent="0" algn="ctr">
              <a:buNone/>
              <a:defRPr/>
            </a:lvl4pPr>
            <a:lvl5pPr marL="1828617" indent="0" algn="ctr">
              <a:buNone/>
              <a:defRPr/>
            </a:lvl5pPr>
            <a:lvl6pPr marL="2285772" indent="0" algn="ctr">
              <a:buNone/>
              <a:defRPr/>
            </a:lvl6pPr>
            <a:lvl7pPr marL="2742925" indent="0" algn="ctr">
              <a:buNone/>
              <a:defRPr/>
            </a:lvl7pPr>
            <a:lvl8pPr marL="3200080" indent="0" algn="ctr">
              <a:buNone/>
              <a:defRPr/>
            </a:lvl8pPr>
            <a:lvl9pPr marL="3657234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096A4D-21EC-493B-9169-691F7E254C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17C216-CDD7-4905-9E21-A6D7799E3A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3742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1" y="274639"/>
            <a:ext cx="10972800" cy="58515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945D5E-90DB-4B83-B528-ABF27FB847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F700CA-F695-4E50-9814-ECB2ACFBC9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048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CD0EF-093A-4092-8E66-397F64880C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33F125-5742-4790-9101-707271CB84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4666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4400" y="3816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4400" y="1724401"/>
            <a:ext cx="10972800" cy="4141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5972401"/>
            <a:ext cx="9696449" cy="155575"/>
          </a:xfrm>
        </p:spPr>
        <p:txBody>
          <a:bodyPr/>
          <a:lstStyle>
            <a:lvl1pPr marL="3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  <a:lvl2pPr marL="2700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2pPr>
            <a:lvl3pPr marL="9144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3pPr>
            <a:lvl4pPr marL="1371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4pPr>
            <a:lvl5pPr marL="18288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06518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BE78D7F-0710-4B9D-A93B-BB9F2585A9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BCE889C-FDD2-41DE-BF80-7139D4537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321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4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w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58B7B1-168E-CF40-9EA9-05CCD0379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09701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7772400" imgH="10058400" progId="TCLayout.ActiveDocument.1">
                  <p:embed/>
                </p:oleObj>
              </mc:Choice>
              <mc:Fallback>
                <p:oleObj name="think-cell Folie" r:id="rId12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58B7B1-168E-CF40-9EA9-05CCD0379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036C51E-11F5-A946-BFE9-14A869027D27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 dirty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 descr="RGB-Skala-A4-Quer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23284" y="0"/>
            <a:ext cx="117051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5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sp>
        <p:nvSpPr>
          <p:cNvPr id="18" name="Fußzeilenplatzhalter 14">
            <a:extLst>
              <a:ext uri="{FF2B5EF4-FFF2-40B4-BE49-F238E27FC236}">
                <a16:creationId xmlns:a16="http://schemas.microsoft.com/office/drawing/2014/main" id="{FC3CE225-3EAA-4496-BC66-F52D2CB7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Entwurf und Regelung kollaborierender Robotersysteme (EITMA121) – Prof. Dr.-Ing. Daniel Brau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72" r:id="rId5"/>
    <p:sldLayoutId id="2147483678" r:id="rId6"/>
    <p:sldLayoutId id="2147483679" r:id="rId7"/>
    <p:sldLayoutId id="2147483680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1802A41-1B62-8140-A7EA-9B1A20EB9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30133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1802A41-1B62-8140-A7EA-9B1A20EB9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0E0DCC1-47BB-D843-88DA-5C77EA94A6B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 dirty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1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pic>
        <p:nvPicPr>
          <p:cNvPr id="17" name="Picture 3" descr="D:\01GÖM-Daten\Daten-muntean\01-Geschaeftsausstattung\HsKA-PPT\PPT-BLANK-Vorlagen\Vorlagen\RGB-NurSkala-A4-Quer-Anschnitt.wmf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" y="1346200"/>
            <a:ext cx="766233" cy="551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2903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1" r:id="rId4"/>
    <p:sldLayoutId id="2147483702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58B7B1-168E-CF40-9EA9-05CCD0379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58B7B1-168E-CF40-9EA9-05CCD0379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036C51E-11F5-A946-BFE9-14A869027D27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 dirty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 descr="RGB-Skala-A4-Quer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23284" y="0"/>
            <a:ext cx="117051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6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sp>
        <p:nvSpPr>
          <p:cNvPr id="18" name="Fußzeilenplatzhalter 14">
            <a:extLst>
              <a:ext uri="{FF2B5EF4-FFF2-40B4-BE49-F238E27FC236}">
                <a16:creationId xmlns:a16="http://schemas.microsoft.com/office/drawing/2014/main" id="{ACAEF8EA-B335-4EAA-A13C-03C50E47DF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Entwurf und Regelung kollaborierender Robotersysteme (EITMA121) – Prof. Dr.-Ing. Daniel Braun</a:t>
            </a:r>
          </a:p>
        </p:txBody>
      </p:sp>
    </p:spTree>
    <p:extLst>
      <p:ext uri="{BB962C8B-B14F-4D97-AF65-F5344CB8AC3E}">
        <p14:creationId xmlns:p14="http://schemas.microsoft.com/office/powerpoint/2010/main" val="344093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7" r:id="rId5"/>
    <p:sldLayoutId id="2147483698" r:id="rId6"/>
    <p:sldLayoutId id="2147483699" r:id="rId7"/>
    <p:sldLayoutId id="2147483700" r:id="rId8"/>
    <p:sldLayoutId id="2147483701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1802A41-1B62-8140-A7EA-9B1A20EB9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1802A41-1B62-8140-A7EA-9B1A20EB9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0E0DCC1-47BB-D843-88DA-5C77EA94A6B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 dirty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1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pic>
        <p:nvPicPr>
          <p:cNvPr id="17" name="Picture 3" descr="D:\01GÖM-Daten\Daten-muntean\01-Geschaeftsausstattung\HsKA-PPT\PPT-BLANK-Vorlagen\Vorlagen\RGB-NurSkala-A4-Quer-Anschnitt.wmf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" y="1346200"/>
            <a:ext cx="766233" cy="551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43855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2BFC551-9DB8-4BAB-B6B4-62F5F6909E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5408" y="2130427"/>
            <a:ext cx="10363200" cy="1470025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endParaRPr lang="de-DE" sz="3600" b="1" dirty="0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AA139CD-735D-4AB8-9FCE-080BDC82078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de-DE" sz="28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A0CF6D-C744-42AF-A6EB-5FAE6838D8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791930" y="6366298"/>
            <a:ext cx="6458705" cy="365125"/>
          </a:xfrm>
        </p:spPr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A5153A-4C99-473C-9771-07C48BDFB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2490" y="6366298"/>
            <a:ext cx="1069909" cy="365125"/>
          </a:xfrm>
        </p:spPr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3399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C5348221-1137-4E3C-A316-B70160A89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6523E40-D335-FE8D-B399-2688CE983F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006BF76-DBFF-4B68-8CB7-9F15507613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Entwurf und Regelung kollaborierender Robotersysteme (EITMA121) – Prof. Dr.-Ing. Daniel Brau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A9214A-E96D-470A-8EDE-61CEBA45EA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43227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u1l454o7sVfN_i2to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pftXo6HwVEvcsHmLR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u1l454o7sVfN_i2to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pftXo6HwVEvcsHmLROA"/>
</p:tagLst>
</file>

<file path=ppt/theme/theme1.xml><?xml version="1.0" encoding="utf-8"?>
<a:theme xmlns:a="http://schemas.openxmlformats.org/drawingml/2006/main" name="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0C765269-FBCE-4C65-82E0-6870CB5403DF}"/>
    </a:ext>
  </a:extLst>
</a:theme>
</file>

<file path=ppt/theme/theme2.xml><?xml version="1.0" encoding="utf-8"?>
<a:theme xmlns:a="http://schemas.openxmlformats.org/drawingml/2006/main" name="1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964E419F-D5F4-4517-B84F-33AEB4808AB0}"/>
    </a:ext>
  </a:extLst>
</a:theme>
</file>

<file path=ppt/theme/theme3.xml><?xml version="1.0" encoding="utf-8"?>
<a:theme xmlns:a="http://schemas.openxmlformats.org/drawingml/2006/main" name="2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0C765269-FBCE-4C65-82E0-6870CB5403DF}"/>
    </a:ext>
  </a:extLst>
</a:theme>
</file>

<file path=ppt/theme/theme4.xml><?xml version="1.0" encoding="utf-8"?>
<a:theme xmlns:a="http://schemas.openxmlformats.org/drawingml/2006/main" name="3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964E419F-D5F4-4517-B84F-33AEB4808AB0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KA Master</Template>
  <TotalTime>0</TotalTime>
  <Words>38</Words>
  <Application>Microsoft Office PowerPoint</Application>
  <PresentationFormat>Breitbild</PresentationFormat>
  <Paragraphs>4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0" baseType="lpstr">
      <vt:lpstr>Arial</vt:lpstr>
      <vt:lpstr>Calibri</vt:lpstr>
      <vt:lpstr>Wingdings</vt:lpstr>
      <vt:lpstr>HSKA Master</vt:lpstr>
      <vt:lpstr>1_HSKA Master</vt:lpstr>
      <vt:lpstr>2_HSKA Master</vt:lpstr>
      <vt:lpstr>3_HSKA Master</vt:lpstr>
      <vt:lpstr>think-cell Foli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jörn Hein;daniel.braun@hs-karlsruhe.de</dc:creator>
  <cp:lastModifiedBy>Andreas Schmitt</cp:lastModifiedBy>
  <cp:revision>1069</cp:revision>
  <cp:lastPrinted>2015-12-16T12:49:14Z</cp:lastPrinted>
  <dcterms:created xsi:type="dcterms:W3CDTF">2019-10-01T03:21:19Z</dcterms:created>
  <dcterms:modified xsi:type="dcterms:W3CDTF">2024-01-12T15:59:51Z</dcterms:modified>
</cp:coreProperties>
</file>